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6"/>
  </p:notesMasterIdLst>
  <p:handoutMasterIdLst>
    <p:handoutMasterId r:id="rId17"/>
  </p:handoutMasterIdLst>
  <p:sldIdLst>
    <p:sldId id="311" r:id="rId4"/>
    <p:sldId id="340" r:id="rId5"/>
    <p:sldId id="351" r:id="rId6"/>
    <p:sldId id="353" r:id="rId7"/>
    <p:sldId id="355" r:id="rId8"/>
    <p:sldId id="359" r:id="rId9"/>
    <p:sldId id="360" r:id="rId10"/>
    <p:sldId id="361" r:id="rId11"/>
    <p:sldId id="363" r:id="rId12"/>
    <p:sldId id="362" r:id="rId13"/>
    <p:sldId id="329" r:id="rId14"/>
    <p:sldId id="349" r:id="rId15"/>
  </p:sldIdLst>
  <p:sldSz cx="9906000" cy="6858000" type="A4"/>
  <p:notesSz cx="6896100" cy="10033000"/>
  <p:custDataLst>
    <p:tags r:id="rId18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5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3/16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Group6-scratch-introduction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Group6-scratch-introduction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Group6-scratch-introduction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Group6-scratch-introduction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Group6-scratch-introduction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Group6-scratch-introduction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Group6-scratch-introduction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Group6-scratch-introduction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9.png"/><Relationship Id="rId2" Type="http://schemas.openxmlformats.org/officeDocument/2006/relationships/tags" Target="../tags/tag6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8.png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0.vml"/><Relationship Id="rId4" Type="http://schemas.openxmlformats.org/officeDocument/2006/relationships/oleObject" Target="../embeddings/oleObject3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3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4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6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.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712550" y="2060810"/>
            <a:ext cx="4076700" cy="1371600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2" name="Picture 1" descr="Warsztat 6+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041290" y="4221110"/>
            <a:ext cx="2160300" cy="216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558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Jak wystartować i zatrzymać program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Group6-scratch-introductio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001250" cy="12961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ielona flaga </a:t>
            </a:r>
            <a:r>
              <a:rPr lang="pl-PL" sz="2400" dirty="0" smtClean="0">
                <a:latin typeface="Comic Sans MS"/>
              </a:rPr>
              <a:t>startuje wszystkie skrypty zaczynające się blokiem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Czerwony znak stop </a:t>
            </a:r>
            <a:r>
              <a:rPr lang="pl-PL" sz="2400" dirty="0" smtClean="0">
                <a:latin typeface="Comic Sans MS"/>
              </a:rPr>
              <a:t>kończy działanie wszystkich skryptów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558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28580" y="1844780"/>
            <a:ext cx="12382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89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16370" y="2852920"/>
            <a:ext cx="4176580" cy="2856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90" name="Picture 6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40790" y="3789050"/>
            <a:ext cx="3457575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6105160" y="3717040"/>
            <a:ext cx="936130" cy="36005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z="3200" dirty="0" err="1" smtClean="0"/>
              <a:t>Czym</a:t>
            </a:r>
            <a:r>
              <a:rPr lang="de-DE" sz="3200" dirty="0" smtClean="0"/>
              <a:t> </a:t>
            </a:r>
            <a:r>
              <a:rPr lang="de-DE" sz="3200" dirty="0" err="1" smtClean="0"/>
              <a:t>jest</a:t>
            </a:r>
            <a:r>
              <a:rPr lang="de-DE" sz="3200" dirty="0" smtClean="0"/>
              <a:t>                  </a:t>
            </a:r>
            <a:r>
              <a:rPr lang="pl-PL" sz="3200" dirty="0" smtClean="0"/>
              <a:t>?</a:t>
            </a:r>
            <a:endParaRPr lang="en-GB" sz="32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Group6-scratch-introductio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3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288630" y="188550"/>
            <a:ext cx="2038350" cy="685800"/>
          </a:xfrm>
          <a:prstGeom prst="rect">
            <a:avLst/>
          </a:prstGeom>
          <a:noFill/>
        </p:spPr>
      </p:pic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8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jest </a:t>
            </a:r>
            <a:r>
              <a:rPr lang="pl-PL" sz="2800" dirty="0" smtClean="0">
                <a:solidFill>
                  <a:srgbClr val="FF9900"/>
                </a:solidFill>
                <a:latin typeface="Comic Sans MS"/>
                <a:cs typeface="Comic Sans MS"/>
              </a:rPr>
              <a:t>językiem programowania</a:t>
            </a:r>
            <a:r>
              <a:rPr lang="de-DE" sz="2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my użyć go do tworzenia własnych, interaktywnych historyjek, animacji, gier, muzyki oraz sztuki.</a:t>
            </a:r>
            <a:endParaRPr lang="en-US" sz="28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436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9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z="3200" dirty="0" err="1" smtClean="0">
                <a:solidFill>
                  <a:srgbClr val="000000"/>
                </a:solidFill>
                <a:latin typeface="Comic Sans MS"/>
              </a:rPr>
              <a:t>Czym</a:t>
            </a:r>
            <a:r>
              <a:rPr lang="de-DE" sz="3200" dirty="0" smtClean="0">
                <a:solidFill>
                  <a:srgbClr val="000000"/>
                </a:solidFill>
                <a:latin typeface="Comic Sans MS"/>
              </a:rPr>
              <a:t> </a:t>
            </a:r>
            <a:r>
              <a:rPr lang="de-DE" sz="3200" dirty="0" err="1" smtClean="0">
                <a:solidFill>
                  <a:srgbClr val="000000"/>
                </a:solidFill>
                <a:latin typeface="Comic Sans MS"/>
              </a:rPr>
              <a:t>jest</a:t>
            </a:r>
            <a:r>
              <a:rPr lang="de-DE" sz="3200" dirty="0" smtClean="0">
                <a:solidFill>
                  <a:srgbClr val="000000"/>
                </a:solidFill>
                <a:latin typeface="Comic Sans MS"/>
              </a:rPr>
              <a:t> </a:t>
            </a:r>
            <a:r>
              <a:rPr lang="de-DE" sz="3200" dirty="0" err="1" smtClean="0">
                <a:solidFill>
                  <a:srgbClr val="000000"/>
                </a:solidFill>
                <a:latin typeface="Comic Sans MS"/>
              </a:rPr>
              <a:t>programowanie</a:t>
            </a:r>
            <a:r>
              <a:rPr lang="pl-PL" sz="3200" dirty="0" smtClean="0"/>
              <a:t>?</a:t>
            </a:r>
            <a:endParaRPr lang="en-GB" sz="32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Group6-scratch-introductio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266437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3200" dirty="0" smtClean="0">
                <a:solidFill>
                  <a:srgbClr val="FF9900"/>
                </a:solidFill>
                <a:latin typeface="Comic Sans MS"/>
              </a:rPr>
              <a:t>Programowanie</a:t>
            </a:r>
            <a:r>
              <a:rPr lang="pl-PL" sz="3200" dirty="0" smtClean="0">
                <a:latin typeface="Comic Sans MS"/>
              </a:rPr>
              <a:t> </a:t>
            </a:r>
            <a:r>
              <a:rPr lang="pl-PL" sz="3200" dirty="0" smtClean="0">
                <a:latin typeface="Comic Sans MS"/>
              </a:rPr>
              <a:t>to kierowanie komputerem przez rozkazy.</a:t>
            </a:r>
            <a:endParaRPr lang="pl-PL" sz="32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3200" dirty="0" smtClean="0">
                <a:latin typeface="Comic Sans MS"/>
              </a:rPr>
              <a:t>Pro</a:t>
            </a:r>
            <a:r>
              <a:rPr lang="pl-PL" sz="3200" dirty="0" err="1" smtClean="0">
                <a:latin typeface="Comic Sans MS"/>
              </a:rPr>
              <a:t>gramowanie</a:t>
            </a:r>
            <a:r>
              <a:rPr lang="pl-PL" sz="3200" dirty="0" smtClean="0">
                <a:latin typeface="Comic Sans MS"/>
              </a:rPr>
              <a:t> jest jak </a:t>
            </a:r>
            <a:r>
              <a:rPr lang="pl-PL" sz="3200" dirty="0" smtClean="0">
                <a:latin typeface="Comic Sans MS"/>
              </a:rPr>
              <a:t>przepis kucharski – mówimy komputerowi, co ma zrobić krok po kroku</a:t>
            </a:r>
            <a:r>
              <a:rPr lang="de-DE" sz="3200" dirty="0" smtClean="0">
                <a:latin typeface="Comic Sans MS"/>
              </a:rPr>
              <a:t>.</a:t>
            </a:r>
            <a:endParaRPr lang="de-DE" sz="32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32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32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12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Sceny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i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duszk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Group6-scratch-introductio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381653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Scena</a:t>
            </a:r>
            <a:r>
              <a:rPr lang="pl-PL" sz="2400" dirty="0" smtClean="0">
                <a:latin typeface="Comic Sans MS"/>
              </a:rPr>
              <a:t> jest miejscem, gdzie odbywają się wasze animacje, gry i historyjki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4149100"/>
            <a:ext cx="381653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Duszki</a:t>
            </a:r>
            <a:r>
              <a:rPr lang="de-DE" sz="2400" dirty="0" smtClean="0"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poruszają się oraz współdziałają ze sobą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enie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1" name="Picture 10"/>
          <p:cNvPicPr/>
          <p:nvPr/>
        </p:nvPicPr>
        <p:blipFill>
          <a:blip r:embed="rId6"/>
          <a:stretch>
            <a:fillRect/>
          </a:stretch>
        </p:blipFill>
        <p:spPr>
          <a:xfrm>
            <a:off x="4808980" y="1509120"/>
            <a:ext cx="4657320" cy="3885840"/>
          </a:xfrm>
          <a:prstGeom prst="rect">
            <a:avLst/>
          </a:prstGeom>
          <a:ln>
            <a:noFill/>
          </a:ln>
        </p:spPr>
      </p:pic>
      <p:sp>
        <p:nvSpPr>
          <p:cNvPr id="12" name="Line 4"/>
          <p:cNvSpPr/>
          <p:nvPr/>
        </p:nvSpPr>
        <p:spPr>
          <a:xfrm flipV="1">
            <a:off x="1208480" y="3429000"/>
            <a:ext cx="5544770" cy="792110"/>
          </a:xfrm>
          <a:prstGeom prst="line">
            <a:avLst/>
          </a:prstGeom>
          <a:ln w="36720">
            <a:solidFill>
              <a:srgbClr val="FF9900"/>
            </a:solidFill>
            <a:round/>
            <a:tailEnd type="triangle" w="med" len="med"/>
          </a:ln>
        </p:spPr>
      </p:sp>
      <p:sp>
        <p:nvSpPr>
          <p:cNvPr id="13" name="Line 5"/>
          <p:cNvSpPr/>
          <p:nvPr/>
        </p:nvSpPr>
        <p:spPr>
          <a:xfrm flipV="1">
            <a:off x="2864710" y="5085230"/>
            <a:ext cx="2232310" cy="19430"/>
          </a:xfrm>
          <a:prstGeom prst="line">
            <a:avLst/>
          </a:prstGeom>
          <a:ln w="36720">
            <a:solidFill>
              <a:srgbClr val="FF950E"/>
            </a:solidFill>
            <a:round/>
            <a:tailEnd type="triangle" w="med" len="med"/>
          </a:ln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84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Duszk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Group6-scratch-introductio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4448930" y="1340710"/>
            <a:ext cx="5256730" cy="28804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latin typeface="Comic Sans MS"/>
              </a:rPr>
              <a:t>Możemy tworzyć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nowe duszki</a:t>
            </a:r>
            <a:r>
              <a:rPr lang="pl-PL" sz="2400" dirty="0" smtClean="0">
                <a:latin typeface="Comic Sans MS"/>
              </a:rPr>
              <a:t>: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ybierając z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biblioteki duszków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rysując</a:t>
            </a:r>
            <a:r>
              <a:rPr lang="pl-PL" sz="2400" dirty="0" smtClean="0">
                <a:latin typeface="Comic Sans MS"/>
              </a:rPr>
              <a:t> nowego duszka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ykorzystując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gotowy plik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robiąc zdjęci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kamerką.</a:t>
            </a:r>
            <a:endParaRPr lang="de-DE" sz="2400" dirty="0" smtClean="0">
              <a:solidFill>
                <a:srgbClr val="FF9900"/>
              </a:solidFill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88420" name="Picture 4" descr="C:\Projects\robocap\scratch-labs\slideshow\images\Screenshot2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2350" y="3140960"/>
            <a:ext cx="3877216" cy="1581371"/>
          </a:xfrm>
          <a:prstGeom prst="rect">
            <a:avLst/>
          </a:prstGeom>
          <a:noFill/>
        </p:spPr>
      </p:pic>
      <p:pic>
        <p:nvPicPr>
          <p:cNvPr id="188419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72600" y="4221110"/>
            <a:ext cx="6552910" cy="1806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2288630" y="3068950"/>
            <a:ext cx="1944270" cy="504070"/>
          </a:xfrm>
          <a:prstGeom prst="rect">
            <a:avLst/>
          </a:prstGeom>
          <a:noFill/>
          <a:ln w="603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12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8430" y="1513222"/>
            <a:ext cx="699130" cy="754457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344360" y="2564880"/>
            <a:ext cx="4224233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400" dirty="0" smtClean="0"/>
              <a:t>Każdy duszek ma swoje imię!</a:t>
            </a:r>
            <a:endParaRPr lang="en-US" sz="2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251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Group6-scratch-introductio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4880990" y="1484730"/>
            <a:ext cx="4608640" cy="25203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ek</a:t>
            </a:r>
            <a:r>
              <a:rPr lang="pl-PL" sz="2400" dirty="0" smtClean="0">
                <a:latin typeface="Comic Sans MS"/>
              </a:rPr>
              <a:t> może wyglądać jak człowiek, motyl, pociąg lub cokolwiek innego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oje</a:t>
            </a:r>
            <a:r>
              <a:rPr lang="pl-PL" sz="2400" dirty="0" smtClean="0">
                <a:latin typeface="Comic Sans MS"/>
              </a:rPr>
              <a:t> możemy wybrać z palety, z  pliku lub zrobić zdjęcie kamerą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6420" y="2852920"/>
            <a:ext cx="34671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2517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00590" y="4005080"/>
            <a:ext cx="7589042" cy="2167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848430" y="3356990"/>
            <a:ext cx="93613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353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Group6-scratch-introductio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272350" y="1412720"/>
            <a:ext cx="4032560" cy="93613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Stroje można także namalować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14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728830" y="1196690"/>
            <a:ext cx="5832810" cy="4998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/>
          <p:nvPr/>
        </p:nvSpPr>
        <p:spPr>
          <a:xfrm>
            <a:off x="4736970" y="5085230"/>
            <a:ext cx="4752660" cy="115216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057570" y="1772770"/>
            <a:ext cx="504070" cy="216030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45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aleta bloków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Group6-scratch-introductio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128330" y="1700760"/>
            <a:ext cx="7417030" cy="223231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gramowanie w </a:t>
            </a:r>
            <a:r>
              <a:rPr lang="pl-PL" sz="2400" dirty="0" err="1" smtClean="0">
                <a:latin typeface="Comic Sans MS"/>
              </a:rPr>
              <a:t>Scratchu</a:t>
            </a:r>
            <a:r>
              <a:rPr lang="pl-PL" sz="2400" dirty="0" smtClean="0">
                <a:latin typeface="Comic Sans MS"/>
              </a:rPr>
              <a:t> polega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układaniu sekwencji poleceń </a:t>
            </a:r>
            <a:r>
              <a:rPr lang="pl-PL" sz="2400" dirty="0" smtClean="0">
                <a:latin typeface="Comic Sans MS"/>
              </a:rPr>
              <a:t>z gotowych bloków dostępnych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alecie bloków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blocks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palette</a:t>
            </a:r>
            <a:r>
              <a:rPr lang="pl-PL" sz="2400" dirty="0" smtClean="0">
                <a:latin typeface="Comic Sans MS"/>
              </a:rPr>
              <a:t>).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Bloki układamy w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obszarze skryptowym </a:t>
            </a:r>
            <a:r>
              <a:rPr lang="pl-PL" sz="2400" dirty="0" smtClean="0">
                <a:latin typeface="Comic Sans MS"/>
              </a:rPr>
              <a:t>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ripts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area</a:t>
            </a:r>
            <a:r>
              <a:rPr lang="pl-PL" sz="2400" dirty="0" smtClean="0">
                <a:latin typeface="Comic Sans MS"/>
              </a:rPr>
              <a:t>)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tła</a:t>
            </a:r>
            <a:r>
              <a:rPr lang="pl-PL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4565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24760" y="4221110"/>
            <a:ext cx="5471080" cy="2016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56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545360" y="1916790"/>
            <a:ext cx="1870988" cy="396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aleta bloków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Group6-scratch-introduction.pptx</a:t>
            </a:r>
            <a:endParaRPr lang="de-DE" dirty="0"/>
          </a:p>
        </p:txBody>
      </p:sp>
      <p:pic>
        <p:nvPicPr>
          <p:cNvPr id="7" name="Content Placeholder 6" descr="dd.png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640540" y="1340710"/>
            <a:ext cx="6480900" cy="4581844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68</Words>
  <Application>Microsoft Office PowerPoint</Application>
  <PresentationFormat>A4 Paper (210x297 mm)</PresentationFormat>
  <Paragraphs>66</Paragraphs>
  <Slides>12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Blank</vt:lpstr>
      <vt:lpstr>Closing slides</vt:lpstr>
      <vt:lpstr>Section break</vt:lpstr>
      <vt:lpstr>think-cell Slide</vt:lpstr>
      <vt:lpstr>           .</vt:lpstr>
      <vt:lpstr>Czym jest                  ?</vt:lpstr>
      <vt:lpstr>Czym jest programowanie?</vt:lpstr>
      <vt:lpstr>Sceny i duszki.</vt:lpstr>
      <vt:lpstr>Duszki.</vt:lpstr>
      <vt:lpstr>Stroje.</vt:lpstr>
      <vt:lpstr>Stroje.</vt:lpstr>
      <vt:lpstr>Paleta bloków.</vt:lpstr>
      <vt:lpstr>Paleta bloków</vt:lpstr>
      <vt:lpstr>Jak wystartować i zatrzymać program?</vt:lpstr>
      <vt:lpstr>Slide 11</vt:lpstr>
      <vt:lpstr>Slide 12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ZPACHOLC</cp:lastModifiedBy>
  <cp:revision>73</cp:revision>
  <dcterms:created xsi:type="dcterms:W3CDTF">2014-10-21T19:55:20Z</dcterms:created>
  <dcterms:modified xsi:type="dcterms:W3CDTF">2015-03-16T21:23:11Z</dcterms:modified>
</cp:coreProperties>
</file>